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1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2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0" r:id="rId4"/>
    <p:sldMasterId id="2147483900" r:id="rId5"/>
    <p:sldMasterId id="2147483905" r:id="rId6"/>
    <p:sldMasterId id="2147483916" r:id="rId7"/>
    <p:sldMasterId id="2147483928" r:id="rId8"/>
    <p:sldMasterId id="2147483938" r:id="rId9"/>
    <p:sldMasterId id="2147483948" r:id="rId10"/>
    <p:sldMasterId id="2147483959" r:id="rId11"/>
    <p:sldMasterId id="2147483970" r:id="rId12"/>
    <p:sldMasterId id="2147483991" r:id="rId13"/>
    <p:sldMasterId id="2147484001" r:id="rId14"/>
    <p:sldMasterId id="2147484009" r:id="rId15"/>
    <p:sldMasterId id="2147484021" r:id="rId16"/>
    <p:sldMasterId id="2147484034" r:id="rId17"/>
  </p:sldMasterIdLst>
  <p:notesMasterIdLst>
    <p:notesMasterId r:id="rId26"/>
  </p:notesMasterIdLst>
  <p:handoutMasterIdLst>
    <p:handoutMasterId r:id="rId27"/>
  </p:handoutMasterIdLst>
  <p:sldIdLst>
    <p:sldId id="618" r:id="rId18"/>
    <p:sldId id="616" r:id="rId19"/>
    <p:sldId id="621" r:id="rId20"/>
    <p:sldId id="622" r:id="rId21"/>
    <p:sldId id="623" r:id="rId22"/>
    <p:sldId id="617" r:id="rId23"/>
    <p:sldId id="624" r:id="rId24"/>
    <p:sldId id="620" r:id="rId25"/>
  </p:sldIdLst>
  <p:sldSz cx="9906000" cy="6858000" type="A4"/>
  <p:notesSz cx="6807200" cy="9939338"/>
  <p:custDataLst>
    <p:tags r:id="rId2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6">
          <p15:clr>
            <a:srgbClr val="A4A3A4"/>
          </p15:clr>
        </p15:guide>
        <p15:guide id="2" orient="horz" pos="95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orient="horz" pos="618" userDrawn="1">
          <p15:clr>
            <a:srgbClr val="A4A3A4"/>
          </p15:clr>
        </p15:guide>
        <p15:guide id="6" orient="horz" pos="4110" userDrawn="1">
          <p15:clr>
            <a:srgbClr val="A4A3A4"/>
          </p15:clr>
        </p15:guide>
        <p15:guide id="7" orient="horz" pos="4269">
          <p15:clr>
            <a:srgbClr val="A4A3A4"/>
          </p15:clr>
        </p15:guide>
        <p15:guide id="8" pos="2961" userDrawn="1">
          <p15:clr>
            <a:srgbClr val="A4A3A4"/>
          </p15:clr>
        </p15:guide>
        <p15:guide id="9" pos="262" userDrawn="1">
          <p15:clr>
            <a:srgbClr val="A4A3A4"/>
          </p15:clr>
        </p15:guide>
        <p15:guide id="10" pos="6000" userDrawn="1">
          <p15:clr>
            <a:srgbClr val="A4A3A4"/>
          </p15:clr>
        </p15:guide>
        <p15:guide id="11" pos="3188" userDrawn="1">
          <p15:clr>
            <a:srgbClr val="A4A3A4"/>
          </p15:clr>
        </p15:guide>
        <p15:guide id="12" pos="3256" userDrawn="1">
          <p15:clr>
            <a:srgbClr val="A4A3A4"/>
          </p15:clr>
        </p15:guide>
        <p15:guide id="13" orient="horz" pos="3294" userDrawn="1">
          <p15:clr>
            <a:srgbClr val="A4A3A4"/>
          </p15:clr>
        </p15:guide>
        <p15:guide id="14" orient="horz" pos="2976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orient="horz" pos="1412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pos="3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成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F0FA"/>
    <a:srgbClr val="EBFFBF"/>
    <a:srgbClr val="FF33CC"/>
    <a:srgbClr val="F6C8F6"/>
    <a:srgbClr val="EAB23D"/>
    <a:srgbClr val="F1B21A"/>
    <a:srgbClr val="DF971F"/>
    <a:srgbClr val="CB7D18"/>
    <a:srgbClr val="409A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31" autoAdjust="0"/>
    <p:restoredTop sz="96327" autoAdjust="0"/>
  </p:normalViewPr>
  <p:slideViewPr>
    <p:cSldViewPr snapToGrid="0" showGuides="1">
      <p:cViewPr varScale="1">
        <p:scale>
          <a:sx n="82" d="100"/>
          <a:sy n="82" d="100"/>
        </p:scale>
        <p:origin x="1171" y="72"/>
      </p:cViewPr>
      <p:guideLst>
        <p:guide orient="horz" pos="96"/>
        <p:guide orient="horz" pos="958"/>
        <p:guide orient="horz" pos="482"/>
        <p:guide orient="horz" pos="3997"/>
        <p:guide orient="horz" pos="618"/>
        <p:guide orient="horz" pos="4110"/>
        <p:guide orient="horz" pos="4269"/>
        <p:guide pos="2961"/>
        <p:guide pos="262"/>
        <p:guide pos="6000"/>
        <p:guide pos="3188"/>
        <p:guide pos="3256"/>
        <p:guide orient="horz" pos="3294"/>
        <p:guide orient="horz" pos="2976"/>
        <p:guide orient="horz" pos="1752"/>
        <p:guide orient="horz" pos="1412"/>
        <p:guide orient="horz" pos="2954"/>
        <p:guide pos="3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8" d="100"/>
        <a:sy n="108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39D7E852-17AA-4CB6-8273-0685DB7F9B51}" type="datetimeFigureOut">
              <a:rPr lang="en-US"/>
              <a:pPr/>
              <a:t>6/28/202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6/28/2024</a:t>
            </a:fld>
            <a:endParaRPr lang="en-GB" dirty="0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863" tIns="68933" rIns="137863" bIns="68933" rtlCol="0" anchor="ctr"/>
          <a:lstStyle/>
          <a:p>
            <a:pPr lvl="0"/>
            <a:endParaRPr lang="en-GB" noProof="0" dirty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094" y="4721187"/>
            <a:ext cx="5447014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C1A16F-ADE7-47D3-8745-8480D56F6679}" type="slidenum">
              <a:rPr lang="ja-JP" altLang="en-US">
                <a:solidFill>
                  <a:prstClr val="black"/>
                </a:solidFill>
                <a:latin typeface="Arial"/>
              </a:rPr>
              <a:pPr/>
              <a:t>1</a:t>
            </a:fld>
            <a:endParaRPr lang="en-US" altLang="ja-JP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867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1675" y="736600"/>
            <a:ext cx="5351463" cy="3705225"/>
          </a:xfrm>
          <a:ln/>
        </p:spPr>
      </p:sp>
      <p:sp>
        <p:nvSpPr>
          <p:cNvPr id="2867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633" y="4685514"/>
            <a:ext cx="4934501" cy="4443677"/>
          </a:xfrm>
        </p:spPr>
        <p:txBody>
          <a:bodyPr/>
          <a:lstStyle/>
          <a:p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6409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8.xml"/><Relationship Id="rId4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0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4" Type="http://schemas.openxmlformats.org/officeDocument/2006/relationships/image" Target="../media/image9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9.xml"/><Relationship Id="rId4" Type="http://schemas.openxmlformats.org/officeDocument/2006/relationships/image" Target="../media/image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360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有限責任監査法人 トーマツ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04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7" name="タイトル プレースホルダ 6"/>
          <p:cNvSpPr>
            <a:spLocks noGrp="1"/>
          </p:cNvSpPr>
          <p:nvPr>
            <p:ph type="title" hasCustomPrompt="1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>
          <a:xfrm>
            <a:off x="4170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5151291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080455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9474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71782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5" name="オブジェクト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 sz="2000">
                <a:latin typeface="+mn-lt"/>
              </a:defRPr>
            </a:lvl1pPr>
          </a:lstStyle>
          <a:p>
            <a:r>
              <a:rPr kumimoji="1" lang="ja-JP" altLang="en-US" dirty="0"/>
              <a:t>キーメッセージ（スライドで一番伝えたいこと＜名詞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73878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70" imgH="469" progId="TCLayout.ActiveDocument.1">
                  <p:embed/>
                </p:oleObj>
              </mc:Choice>
              <mc:Fallback>
                <p:oleObj name="think-cell スライド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94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3936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42245625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10911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2" y="6588177"/>
            <a:ext cx="410385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143831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290624"/>
            <a:ext cx="9072000" cy="651600"/>
          </a:xfrm>
        </p:spPr>
        <p:txBody>
          <a:bodyPr/>
          <a:lstStyle>
            <a:lvl1pPr>
              <a:defRPr sz="160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6511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6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2184443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108" baseline="0">
                <a:latin typeface="+mn-lt"/>
                <a:ea typeface="+mn-ea"/>
                <a:cs typeface="Arial" pitchFamily="34" charset="0"/>
              </a:defRPr>
            </a:lvl1pPr>
            <a:lvl2pPr marL="159512" indent="-159512">
              <a:lnSpc>
                <a:spcPct val="106000"/>
              </a:lnSpc>
              <a:spcBef>
                <a:spcPts val="975"/>
              </a:spcBef>
              <a:buFont typeface="Wingdings" pitchFamily="2" charset="2"/>
              <a:buChar char="n"/>
              <a:defRPr sz="1108" baseline="0">
                <a:latin typeface="+mn-lt"/>
                <a:ea typeface="+mn-ea"/>
                <a:cs typeface="Arial" pitchFamily="34" charset="0"/>
              </a:defRPr>
            </a:lvl2pPr>
            <a:lvl3pPr marL="319023" indent="-159512">
              <a:lnSpc>
                <a:spcPct val="106000"/>
              </a:lnSpc>
              <a:spcBef>
                <a:spcPts val="443"/>
              </a:spcBef>
              <a:buFont typeface="Wingdings" pitchFamily="2" charset="2"/>
              <a:buChar char="Ø"/>
              <a:defRPr sz="1108" baseline="0">
                <a:latin typeface="+mn-lt"/>
                <a:ea typeface="+mn-ea"/>
                <a:cs typeface="Arial" pitchFamily="34" charset="0"/>
              </a:defRPr>
            </a:lvl3pPr>
            <a:lvl4pPr marL="478535" marR="0" indent="-159512" algn="l" defTabSz="912958" rtl="0" eaLnBrk="1" fontAlgn="auto" latinLnBrk="0" hangingPunct="1">
              <a:lnSpc>
                <a:spcPct val="106000"/>
              </a:lnSpc>
              <a:spcBef>
                <a:spcPts val="222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108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>
          <a:xfrm>
            <a:off x="9577382" y="6609771"/>
            <a:ext cx="305033" cy="600164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252464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8598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+mn-lt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417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46865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62542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D5C521C-FF79-4B18-A827-A0B66727F89C}" type="slidenum">
              <a:rPr lang="en-GB" altLang="en-GB" smtClean="0"/>
              <a:pPr/>
              <a:t>‹#›</a:t>
            </a:fld>
            <a:endParaRPr lang="en-GB" altLang="en-GB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3600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6800"/>
            <a:ext cx="9040944" cy="651600"/>
          </a:xfr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922305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0" imgH="659" progId="TCLayout.ActiveDocument.1">
                  <p:embed/>
                </p:oleObj>
              </mc:Choice>
              <mc:Fallback>
                <p:oleObj name="think-cell Slide" r:id="rId3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東京都　御中</a:t>
            </a:r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85000" y="431999"/>
            <a:ext cx="1404000" cy="34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88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71890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49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200816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83242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7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17B94E-3120-478C-8085-A9F2B368A1A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12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26000"/>
            <a:ext cx="4320000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8" hasCustomPrompt="1"/>
          </p:nvPr>
        </p:nvSpPr>
        <p:spPr>
          <a:xfrm>
            <a:off x="417000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9" hasCustomPrompt="1"/>
          </p:nvPr>
        </p:nvSpPr>
        <p:spPr>
          <a:xfrm>
            <a:off x="5132388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717219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67223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307358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63241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4911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479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9066013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40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008770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5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4284982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52562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857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924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589688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26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834917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6543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88953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23123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14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758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56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903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78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222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85006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27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16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36210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635574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79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7614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577094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07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4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7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525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10724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09901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59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0645378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367064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689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07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65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24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59640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78388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77912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59200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10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05868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249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124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416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198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200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669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355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606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975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026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40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390776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75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686713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732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6718809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648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098117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04852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13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5586995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8886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42584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61127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9505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801809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786509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203864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8696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85270-3274-4E38-AA52-8FBE5569AC92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27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4121592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17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245339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45493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9233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520555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494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002716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757787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17555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86851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2093522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</a:t>
            </a:r>
            <a:r>
              <a:rPr lang="ja-JP" altLang="ja-JP" sz="1400" dirty="0">
                <a:solidFill>
                  <a:srgbClr val="000000"/>
                </a:solidFill>
              </a:rPr>
              <a:t>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30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14399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32985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87736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118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300846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99771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097587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4830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186938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6430692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0925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88552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49422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スライド番号プレースホルダ 8"/>
          <p:cNvSpPr>
            <a:spLocks noGrp="1"/>
          </p:cNvSpPr>
          <p:nvPr>
            <p:ph type="sldNum" sz="quarter" idx="21"/>
          </p:nvPr>
        </p:nvSpPr>
        <p:spPr bwMode="gray">
          <a:xfrm>
            <a:off x="4881602" y="6588000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7603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18478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327493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コンサルティング</a:t>
            </a: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合同</a:t>
            </a: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会社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grpSp>
        <p:nvGrpSpPr>
          <p:cNvPr id="11" name="グループ化 10"/>
          <p:cNvGrpSpPr>
            <a:grpSpLocks noChangeAspect="1"/>
          </p:cNvGrpSpPr>
          <p:nvPr userDrawn="1"/>
        </p:nvGrpSpPr>
        <p:grpSpPr bwMode="gray">
          <a:xfrm>
            <a:off x="6692185" y="6106206"/>
            <a:ext cx="2829146" cy="522000"/>
            <a:chOff x="6692185" y="6106206"/>
            <a:chExt cx="2829146" cy="522000"/>
          </a:xfrm>
        </p:grpSpPr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585494" y="6106206"/>
              <a:ext cx="935837" cy="522000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692185" y="6220769"/>
              <a:ext cx="1866026" cy="292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0207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5576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58992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965471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5682338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95432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ags" Target="../tags/tag67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oleObject" Target="../embeddings/oleObject6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oleObject" Target="../embeddings/oleObject78.bin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ags" Target="../tags/tag79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5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97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altLang="ja-JP" sz="900" dirty="0">
                <a:solidFill>
                  <a:prstClr val="black"/>
                </a:solidFill>
              </a:rPr>
              <a:t>© 2017. For information, contact Deloitte Touche Tohmatsu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4706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4649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8" r:id="rId6"/>
    <p:sldLayoutId id="2147484033" r:id="rId7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44" imgH="443" progId="TCLayout.ActiveDocument.1">
                  <p:embed/>
                </p:oleObj>
              </mc:Choice>
              <mc:Fallback>
                <p:oleObj name="think-cell スライド" r:id="rId14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/>
              <a:t>鉄道事業者としての</a:t>
            </a:r>
            <a:r>
              <a:rPr kumimoji="1" lang="en-US" altLang="ja-JP"/>
              <a:t>MaaS</a:t>
            </a:r>
            <a:r>
              <a:rPr kumimoji="1" lang="ja-JP" altLang="en-US"/>
              <a:t>事業への取組みに関する討議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Deloitte Tohmatsu Consulting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5380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hd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6899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9" r:id="rId7"/>
    <p:sldLayoutId id="2147484030" r:id="rId8"/>
    <p:sldLayoutId id="2147484031" r:id="rId9"/>
    <p:sldLayoutId id="2147484032" r:id="rId10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60" imgH="659" progId="TCLayout.ActiveDocument.1">
                  <p:embed/>
                </p:oleObj>
              </mc:Choice>
              <mc:Fallback>
                <p:oleObj name="think-cell Slide" r:id="rId12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63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5461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9221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E56C22-CD92-4A50-AAD1-E2171E0619BD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2" name="Text Box 37"/>
          <p:cNvSpPr txBox="1">
            <a:spLocks noChangeArrowheads="1"/>
          </p:cNvSpPr>
          <p:nvPr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altLang="ja-JP" sz="900" kern="1200" dirty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114788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298722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402971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3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7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04830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0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0669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0575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 9"/>
          <p:cNvSpPr txBox="1">
            <a:spLocks/>
          </p:cNvSpPr>
          <p:nvPr/>
        </p:nvSpPr>
        <p:spPr bwMode="gray">
          <a:xfrm>
            <a:off x="1554562" y="2144029"/>
            <a:ext cx="6982609" cy="1363942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先進的デジタル技術活用実証プロジェクト</a:t>
            </a: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エントリーシート補足資料</a:t>
            </a: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4" name="テキスト プレースホルダ 9"/>
          <p:cNvSpPr txBox="1">
            <a:spLocks/>
          </p:cNvSpPr>
          <p:nvPr/>
        </p:nvSpPr>
        <p:spPr bwMode="gray">
          <a:xfrm>
            <a:off x="0" y="0"/>
            <a:ext cx="1172012" cy="690611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sz="1400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別紙３</a:t>
            </a:r>
            <a:endParaRPr lang="en-US" altLang="ja-JP" sz="1400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7508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/>
          <p:cNvSpPr>
            <a:spLocks noGrp="1"/>
          </p:cNvSpPr>
          <p:nvPr>
            <p:ph type="title"/>
          </p:nvPr>
        </p:nvSpPr>
        <p:spPr>
          <a:xfrm>
            <a:off x="352847" y="16622"/>
            <a:ext cx="9072000" cy="731522"/>
          </a:xfrm>
        </p:spPr>
        <p:txBody>
          <a:bodyPr/>
          <a:lstStyle/>
          <a:p>
            <a:pPr algn="ctr"/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・目的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</a:t>
            </a:r>
            <a:endParaRPr kumimoji="1" lang="ja-JP" altLang="en-US" dirty="0"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32" name="テキスト プレースホルダー 3"/>
          <p:cNvSpPr txBox="1">
            <a:spLocks/>
          </p:cNvSpPr>
          <p:nvPr/>
        </p:nvSpPr>
        <p:spPr>
          <a:xfrm>
            <a:off x="196427" y="830515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・目的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2" name="テキスト プレースホルダー 3">
            <a:extLst>
              <a:ext uri="{FF2B5EF4-FFF2-40B4-BE49-F238E27FC236}">
                <a16:creationId xmlns:a16="http://schemas.microsoft.com/office/drawing/2014/main" id="{8CC15306-714F-637C-61D1-267F844C167E}"/>
              </a:ext>
            </a:extLst>
          </p:cNvPr>
          <p:cNvSpPr txBox="1">
            <a:spLocks/>
          </p:cNvSpPr>
          <p:nvPr/>
        </p:nvSpPr>
        <p:spPr>
          <a:xfrm>
            <a:off x="196426" y="1454045"/>
            <a:ext cx="9345507" cy="1145222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FF0000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・目的の補足資料は、次の事項を含めてください。</a:t>
            </a:r>
            <a:endParaRPr lang="en-US" altLang="ja-JP" kern="0" dirty="0">
              <a:solidFill>
                <a:srgbClr val="FF0000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FF0000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・本実証で開発しようとする製品やサービスの開発前である現状において、県内中小企業がどのような課題を抱えていたのか。</a:t>
            </a:r>
            <a:endParaRPr lang="en-US" altLang="ja-JP" kern="0" dirty="0">
              <a:solidFill>
                <a:srgbClr val="FF0000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FF0000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・本実証で製品やサービスが開発されることで、前述の課題がどのように解決されるのか。</a:t>
            </a:r>
            <a:endParaRPr lang="en-US" altLang="ja-JP" kern="0" dirty="0">
              <a:solidFill>
                <a:srgbClr val="FF0000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4507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連携体を構成する各メンバーの役割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81389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kumimoji="1" lang="ja-JP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連携体を構成する各メンバーの役割</a:t>
            </a:r>
          </a:p>
        </p:txBody>
      </p:sp>
    </p:spTree>
    <p:extLst>
      <p:ext uri="{BB962C8B-B14F-4D97-AF65-F5344CB8AC3E}">
        <p14:creationId xmlns:p14="http://schemas.microsoft.com/office/powerpoint/2010/main" val="2461917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デジタル技術の先進性・独自性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81389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kumimoji="1" lang="ja-JP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デジタル技術の先進性・独自性</a:t>
            </a:r>
          </a:p>
        </p:txBody>
      </p:sp>
    </p:spTree>
    <p:extLst>
      <p:ext uri="{BB962C8B-B14F-4D97-AF65-F5344CB8AC3E}">
        <p14:creationId xmlns:p14="http://schemas.microsoft.com/office/powerpoint/2010/main" val="3344835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県内企業等、地域経済への波及効果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2" name="テキスト プレースホルダー 3">
            <a:extLst>
              <a:ext uri="{FF2B5EF4-FFF2-40B4-BE49-F238E27FC236}">
                <a16:creationId xmlns:a16="http://schemas.microsoft.com/office/drawing/2014/main" id="{014E8496-CC72-BD35-8B1A-49983B4399FA}"/>
              </a:ext>
            </a:extLst>
          </p:cNvPr>
          <p:cNvSpPr txBox="1">
            <a:spLocks/>
          </p:cNvSpPr>
          <p:nvPr/>
        </p:nvSpPr>
        <p:spPr>
          <a:xfrm>
            <a:off x="218480" y="79586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kumimoji="1" lang="ja-JP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県内企業等、地域経済への波及効果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A77CDCF6-024E-010C-1E1A-7F373118A44C}"/>
              </a:ext>
            </a:extLst>
          </p:cNvPr>
          <p:cNvSpPr txBox="1">
            <a:spLocks/>
          </p:cNvSpPr>
          <p:nvPr/>
        </p:nvSpPr>
        <p:spPr>
          <a:xfrm>
            <a:off x="218480" y="1293172"/>
            <a:ext cx="8812107" cy="1145222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FF0000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県内企業等、地域経済への波及効果の補足資料は、次の事項を含めてください。</a:t>
            </a:r>
            <a:endParaRPr lang="en-US" altLang="ja-JP" kern="0" dirty="0">
              <a:solidFill>
                <a:srgbClr val="FF0000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FF0000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・本実証で開発しようとする製品やサービスの県内中小企業のニーズとその活用</a:t>
            </a:r>
            <a:r>
              <a:rPr lang="ja-JP" altLang="en-US" kern="0">
                <a:solidFill>
                  <a:srgbClr val="FF0000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の見込み。</a:t>
            </a:r>
            <a:endParaRPr lang="en-US" altLang="ja-JP" kern="0" dirty="0">
              <a:solidFill>
                <a:srgbClr val="FF0000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623544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市場の成長可能性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2" name="テキスト プレースホルダー 3">
            <a:extLst>
              <a:ext uri="{FF2B5EF4-FFF2-40B4-BE49-F238E27FC236}">
                <a16:creationId xmlns:a16="http://schemas.microsoft.com/office/drawing/2014/main" id="{83D9F98A-D086-9C34-84AB-086C2A899CFF}"/>
              </a:ext>
            </a:extLst>
          </p:cNvPr>
          <p:cNvSpPr txBox="1">
            <a:spLocks/>
          </p:cNvSpPr>
          <p:nvPr/>
        </p:nvSpPr>
        <p:spPr>
          <a:xfrm>
            <a:off x="218480" y="1050549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市場の成長可能性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613017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実施スケジュール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1067896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実施スケジュール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55065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5"/>
          <p:cNvSpPr txBox="1">
            <a:spLocks/>
          </p:cNvSpPr>
          <p:nvPr/>
        </p:nvSpPr>
        <p:spPr bwMode="gray">
          <a:xfrm>
            <a:off x="352847" y="16626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その他、実証プロジェクトの紹介資料や事業計画書などありましたら、</a:t>
            </a:r>
            <a:endParaRPr lang="en-US" altLang="ja-JP" dirty="0"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本スライド以降に追加してください。</a:t>
            </a:r>
          </a:p>
        </p:txBody>
      </p:sp>
      <p:sp>
        <p:nvSpPr>
          <p:cNvPr id="8" name="テキスト プレースホルダー 3"/>
          <p:cNvSpPr txBox="1">
            <a:spLocks/>
          </p:cNvSpPr>
          <p:nvPr/>
        </p:nvSpPr>
        <p:spPr>
          <a:xfrm>
            <a:off x="196427" y="830519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その他補足資料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8000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1.xml><?xml version="1.0" encoding="utf-8"?>
<a:theme xmlns:a="http://schemas.openxmlformats.org/drawingml/2006/main" name="4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2.xml><?xml version="1.0" encoding="utf-8"?>
<a:theme xmlns:a="http://schemas.openxmlformats.org/drawingml/2006/main" name="5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3.xml><?xml version="1.0" encoding="utf-8"?>
<a:theme xmlns:a="http://schemas.openxmlformats.org/drawingml/2006/main" name="6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4.xml><?xml version="1.0" encoding="utf-8"?>
<a:theme xmlns:a="http://schemas.openxmlformats.org/drawingml/2006/main" name="DT Proposal Template_J_20181205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ohmatsu Proposal Template_J_20160105_補足版（本文あり）">
  <a:themeElements>
    <a:clrScheme name="ユーザー定義 1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9.xml><?xml version="1.0" encoding="utf-8"?>
<a:theme xmlns:a="http://schemas.openxmlformats.org/drawingml/2006/main" name="1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9B76E9AC031B498A003B0A6B264DC6" ma:contentTypeVersion="" ma:contentTypeDescription="Create a new document." ma:contentTypeScope="" ma:versionID="7d5800d0d66064624391e2173faee4fe">
  <xsd:schema xmlns:xsd="http://www.w3.org/2001/XMLSchema" xmlns:xs="http://www.w3.org/2001/XMLSchema" xmlns:p="http://schemas.microsoft.com/office/2006/metadata/properties" xmlns:ns2="3a4731f9-7dea-4ec8-b9b6-581989713bb4" targetNamespace="http://schemas.microsoft.com/office/2006/metadata/properties" ma:root="true" ma:fieldsID="30c9ed858bcfdfba078b5a52fd1fab38" ns2:_="">
    <xsd:import namespace="3a4731f9-7dea-4ec8-b9b6-581989713bb4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4731f9-7dea-4ec8-b9b6-581989713bb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810D75-CCF6-483B-965C-EB18F9989D81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e1ab9bf-6fba-4470-ae98-e5144ebfb4bc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17FAABB-0222-45E9-A32C-99F54DE6E1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4731f9-7dea-4ec8-b9b6-581989713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39091D0-4110-4FF5-8034-336546945D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TotalTime>0</TotalTime>
  <Words>371</Words>
  <Application>Microsoft Office PowerPoint</Application>
  <PresentationFormat>A4 210 x 297 mm</PresentationFormat>
  <Paragraphs>25</Paragraphs>
  <Slides>8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4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8</vt:i4>
      </vt:variant>
    </vt:vector>
  </HeadingPairs>
  <TitlesOfParts>
    <vt:vector size="29" baseType="lpstr">
      <vt:lpstr>AR Pゴシック体M</vt:lpstr>
      <vt:lpstr>Meiryo UI</vt:lpstr>
      <vt:lpstr>Arial</vt:lpstr>
      <vt:lpstr>Verdana</vt:lpstr>
      <vt:lpstr>Wingdings</vt:lpstr>
      <vt:lpstr>Tohmatsu Proposal Template_J_20160105</vt:lpstr>
      <vt:lpstr>Tohmatsu Proposal Template_J_20160105_補足版（本文あり）</vt:lpstr>
      <vt:lpstr>1_Tohmatsu Proposal Template_J_20160105</vt:lpstr>
      <vt:lpstr>2_Tohmatsu Proposal Template_J_20160105</vt:lpstr>
      <vt:lpstr>3_Tohmatsu Proposal Template_J_20160105</vt:lpstr>
      <vt:lpstr>4_Tohmatsu Proposal Template_J_20160105</vt:lpstr>
      <vt:lpstr>5_Tohmatsu Proposal Template_J_20160105</vt:lpstr>
      <vt:lpstr>DT Proposal Template_J_20161001</vt:lpstr>
      <vt:lpstr>1_DT Proposal Template_J_20161001</vt:lpstr>
      <vt:lpstr>3_DT Proposal Template_J_20161001</vt:lpstr>
      <vt:lpstr>4_DT Proposal Template_J_20161001</vt:lpstr>
      <vt:lpstr>5_DT Proposal Template_J_20161001</vt:lpstr>
      <vt:lpstr>6_DT Proposal Template_J_20161001</vt:lpstr>
      <vt:lpstr>DT Proposal Template_J_20181205</vt:lpstr>
      <vt:lpstr>think-cell Slide</vt:lpstr>
      <vt:lpstr>think-cell スライド</vt:lpstr>
      <vt:lpstr>PowerPoint プレゼンテーション</vt:lpstr>
      <vt:lpstr>実証プロジェクトの内容・目的について具体的にご記入ください。 （スライドが複数ある場合は、新しいスライドを適宜追加してください。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4T03:44:27Z</dcterms:created>
  <dcterms:modified xsi:type="dcterms:W3CDTF">2024-06-28T02:4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9B76E9AC031B498A003B0A6B264DC6</vt:lpwstr>
  </property>
</Properties>
</file>